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notesSlides/notesSlide8.xml" ContentType="application/vnd.openxmlformats-officedocument.presentationml.notesSlide+xml"/>
  <Override PartName="/ppt/charts/chart3.xml" ContentType="application/vnd.openxmlformats-officedocument.drawingml.chart+xml"/>
  <Override PartName="/ppt/drawings/drawing1.xml" ContentType="application/vnd.openxmlformats-officedocument.drawingml.chartshape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style1.xml" ContentType="application/vnd.ms-office.chartstyle+xml"/>
  <Override PartName="/ppt/charts/colors1.xml" ContentType="application/vnd.ms-office.chartcolorstyle+xml"/>
  <Override PartName="/ppt/charts/style2.xml" ContentType="application/vnd.ms-office.chartstyle+xml"/>
  <Override PartName="/ppt/charts/colors2.xml" ContentType="application/vnd.ms-office.chartcolorstyle+xml"/>
  <Override PartName="/ppt/charts/style3.xml" ContentType="application/vnd.ms-office.chartstyle+xml"/>
  <Override PartName="/ppt/charts/colors3.xml" ContentType="application/vnd.ms-office.chartcolorstyle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0" r:id="rId1"/>
  </p:sldMasterIdLst>
  <p:notesMasterIdLst>
    <p:notesMasterId r:id="rId15"/>
  </p:notesMasterIdLst>
  <p:handoutMasterIdLst>
    <p:handoutMasterId r:id="rId16"/>
  </p:handoutMasterIdLst>
  <p:sldIdLst>
    <p:sldId id="1229" r:id="rId2"/>
    <p:sldId id="1322" r:id="rId3"/>
    <p:sldId id="1321" r:id="rId4"/>
    <p:sldId id="1327" r:id="rId5"/>
    <p:sldId id="1328" r:id="rId6"/>
    <p:sldId id="1323" r:id="rId7"/>
    <p:sldId id="1329" r:id="rId8"/>
    <p:sldId id="1331" r:id="rId9"/>
    <p:sldId id="1330" r:id="rId10"/>
    <p:sldId id="1332" r:id="rId11"/>
    <p:sldId id="1324" r:id="rId12"/>
    <p:sldId id="1325" r:id="rId13"/>
    <p:sldId id="1326" r:id="rId14"/>
  </p:sldIdLst>
  <p:sldSz cx="9906000" cy="6858000" type="A4"/>
  <p:notesSz cx="6794500" cy="9931400"/>
  <p:custShowLst>
    <p:custShow name="Custom Show 1" id="0">
      <p:sldLst/>
    </p:custShow>
  </p:custShowLst>
  <p:custDataLst>
    <p:tags r:id="rId1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572">
          <p15:clr>
            <a:srgbClr val="A4A3A4"/>
          </p15:clr>
        </p15:guide>
        <p15:guide id="2" orient="horz" pos="3838">
          <p15:clr>
            <a:srgbClr val="A4A3A4"/>
          </p15:clr>
        </p15:guide>
        <p15:guide id="3" orient="horz">
          <p15:clr>
            <a:srgbClr val="A4A3A4"/>
          </p15:clr>
        </p15:guide>
        <p15:guide id="4" orient="horz" pos="890">
          <p15:clr>
            <a:srgbClr val="A4A3A4"/>
          </p15:clr>
        </p15:guide>
        <p15:guide id="5" pos="6023">
          <p15:clr>
            <a:srgbClr val="A4A3A4"/>
          </p15:clr>
        </p15:guide>
        <p15:guide id="6" pos="308">
          <p15:clr>
            <a:srgbClr val="A4A3A4"/>
          </p15:clr>
        </p15:guide>
        <p15:guide id="7" pos="5796">
          <p15:clr>
            <a:srgbClr val="A4A3A4"/>
          </p15:clr>
        </p15:guide>
        <p15:guide id="8" pos="2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8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na Zanetti" initials="CZ" lastIdx="1" clrIdx="0"/>
  <p:cmAuthor id="1" name="af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00"/>
    <a:srgbClr val="FFDA65"/>
    <a:srgbClr val="FFFFFF"/>
    <a:srgbClr val="FFCC00"/>
    <a:srgbClr val="E39913"/>
    <a:srgbClr val="F2F2F2"/>
    <a:srgbClr val="FFFF99"/>
    <a:srgbClr val="FFFFCC"/>
    <a:srgbClr val="D8D8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211" autoAdjust="0"/>
    <p:restoredTop sz="95252" autoAdjust="0"/>
  </p:normalViewPr>
  <p:slideViewPr>
    <p:cSldViewPr>
      <p:cViewPr varScale="1">
        <p:scale>
          <a:sx n="81" d="100"/>
          <a:sy n="81" d="100"/>
        </p:scale>
        <p:origin x="-2456" y="-112"/>
      </p:cViewPr>
      <p:guideLst>
        <p:guide orient="horz" pos="572"/>
        <p:guide orient="horz" pos="3838"/>
        <p:guide orient="horz"/>
        <p:guide orient="horz" pos="890"/>
        <p:guide pos="6023"/>
        <p:guide pos="308"/>
        <p:guide pos="5796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notesViewPr>
    <p:cSldViewPr>
      <p:cViewPr varScale="1">
        <p:scale>
          <a:sx n="51" d="100"/>
          <a:sy n="51" d="100"/>
        </p:scale>
        <p:origin x="-3006" y="-108"/>
      </p:cViewPr>
      <p:guideLst>
        <p:guide orient="horz" pos="3128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presProps" Target="presProps.xml"/><Relationship Id="rId21" Type="http://schemas.openxmlformats.org/officeDocument/2006/relationships/viewProps" Target="viewProps.xml"/><Relationship Id="rId22" Type="http://schemas.openxmlformats.org/officeDocument/2006/relationships/theme" Target="theme/theme1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notesMaster" Target="notesMasters/notesMaster1.xml"/><Relationship Id="rId16" Type="http://schemas.openxmlformats.org/officeDocument/2006/relationships/handoutMaster" Target="handoutMasters/handoutMaster1.xml"/><Relationship Id="rId17" Type="http://schemas.openxmlformats.org/officeDocument/2006/relationships/printerSettings" Target="printerSettings/printerSettings1.bin"/><Relationship Id="rId18" Type="http://schemas.openxmlformats.org/officeDocument/2006/relationships/tags" Target="tags/tag1.xml"/><Relationship Id="rId1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.xlsx"/><Relationship Id="rId2" Type="http://schemas.microsoft.com/office/2011/relationships/chartStyle" Target="style1.xml"/><Relationship Id="rId3" Type="http://schemas.microsoft.com/office/2011/relationships/chartColorStyle" Target="colors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2.xlsx"/><Relationship Id="rId2" Type="http://schemas.microsoft.com/office/2011/relationships/chartStyle" Target="style2.xml"/><Relationship Id="rId3" Type="http://schemas.microsoft.com/office/2011/relationships/chartColorStyle" Target="colors2.xml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Style" Target="style3.xml"/><Relationship Id="rId4" Type="http://schemas.microsoft.com/office/2011/relationships/chartColorStyle" Target="colors3.xml"/><Relationship Id="rId1" Type="http://schemas.openxmlformats.org/officeDocument/2006/relationships/package" Target="../embeddings/Microsoft_Excel_Sheet3.xlsx"/><Relationship Id="rId2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400"/>
              <a:t>Number of Riester contracts: stock and inflow</a:t>
            </a:r>
            <a:br>
              <a:rPr lang="en-US" sz="2400"/>
            </a:br>
            <a:r>
              <a:rPr lang="en-US" sz="2400"/>
              <a:t>- Thousands -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Stock of contracts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le2!$C$8:$C$23</c:f>
              <c:strCache>
                <c:ptCount val="16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  <c:pt idx="15">
                  <c:v>2016 / I</c:v>
                </c:pt>
              </c:strCache>
            </c:strRef>
          </c:cat>
          <c:val>
            <c:numRef>
              <c:f>Tabelle2!$H$8:$H$23</c:f>
              <c:numCache>
                <c:formatCode>General</c:formatCode>
                <c:ptCount val="16"/>
                <c:pt idx="0">
                  <c:v>1400.0</c:v>
                </c:pt>
                <c:pt idx="1">
                  <c:v>3405.0</c:v>
                </c:pt>
                <c:pt idx="2">
                  <c:v>3972.0</c:v>
                </c:pt>
                <c:pt idx="3">
                  <c:v>4336.0</c:v>
                </c:pt>
                <c:pt idx="4">
                  <c:v>5693.0</c:v>
                </c:pt>
                <c:pt idx="5">
                  <c:v>8144.0</c:v>
                </c:pt>
                <c:pt idx="6">
                  <c:v>10856.0</c:v>
                </c:pt>
                <c:pt idx="7">
                  <c:v>12247.0</c:v>
                </c:pt>
                <c:pt idx="8">
                  <c:v>13366.0</c:v>
                </c:pt>
                <c:pt idx="9">
                  <c:v>14463.0</c:v>
                </c:pt>
                <c:pt idx="10">
                  <c:v>15415.0</c:v>
                </c:pt>
                <c:pt idx="11">
                  <c:v>15782.0</c:v>
                </c:pt>
                <c:pt idx="12">
                  <c:v>15999.0</c:v>
                </c:pt>
                <c:pt idx="13">
                  <c:v>16295.0</c:v>
                </c:pt>
                <c:pt idx="14">
                  <c:v>16482.0</c:v>
                </c:pt>
                <c:pt idx="15">
                  <c:v>16481.0</c:v>
                </c:pt>
              </c:numCache>
            </c:numRef>
          </c:val>
        </c:ser>
        <c:ser>
          <c:idx val="1"/>
          <c:order val="1"/>
          <c:tx>
            <c:v>Annual net new contracts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belle2!$C$8:$C$23</c:f>
              <c:strCache>
                <c:ptCount val="16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  <c:pt idx="15">
                  <c:v>2016 / I</c:v>
                </c:pt>
              </c:strCache>
            </c:strRef>
          </c:cat>
          <c:val>
            <c:numRef>
              <c:f>Tabelle2!$M$8:$M$23</c:f>
              <c:numCache>
                <c:formatCode>0</c:formatCode>
                <c:ptCount val="16"/>
                <c:pt idx="0">
                  <c:v>1400.0</c:v>
                </c:pt>
                <c:pt idx="1">
                  <c:v>2005.0</c:v>
                </c:pt>
                <c:pt idx="2">
                  <c:v>567.0</c:v>
                </c:pt>
                <c:pt idx="3">
                  <c:v>364.0</c:v>
                </c:pt>
                <c:pt idx="4">
                  <c:v>1357.0</c:v>
                </c:pt>
                <c:pt idx="5">
                  <c:v>2451.0</c:v>
                </c:pt>
                <c:pt idx="6">
                  <c:v>2712.0</c:v>
                </c:pt>
                <c:pt idx="7">
                  <c:v>1391.0</c:v>
                </c:pt>
                <c:pt idx="8">
                  <c:v>1119.0</c:v>
                </c:pt>
                <c:pt idx="9">
                  <c:v>1097.0</c:v>
                </c:pt>
                <c:pt idx="10">
                  <c:v>952.0</c:v>
                </c:pt>
                <c:pt idx="11">
                  <c:v>367.0</c:v>
                </c:pt>
                <c:pt idx="12">
                  <c:v>217.0</c:v>
                </c:pt>
                <c:pt idx="13">
                  <c:v>296.0</c:v>
                </c:pt>
                <c:pt idx="14">
                  <c:v>187.0</c:v>
                </c:pt>
                <c:pt idx="15">
                  <c:v>-1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092616296"/>
        <c:axId val="2092619784"/>
      </c:barChart>
      <c:catAx>
        <c:axId val="20926162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2619784"/>
        <c:crosses val="autoZero"/>
        <c:auto val="1"/>
        <c:lblAlgn val="ctr"/>
        <c:lblOffset val="100"/>
        <c:noMultiLvlLbl val="0"/>
      </c:catAx>
      <c:valAx>
        <c:axId val="2092619784"/>
        <c:scaling>
          <c:orientation val="minMax"/>
          <c:max val="17000.0"/>
          <c:min val="-1000.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26162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000"/>
              <a:t>Annual revenue under Riester plans</a:t>
            </a:r>
            <a:br>
              <a:rPr lang="en-US" sz="2000"/>
            </a:br>
            <a:r>
              <a:rPr lang="en-US" sz="2000"/>
              <a:t>-</a:t>
            </a:r>
            <a:r>
              <a:rPr lang="en-US" sz="2000" baseline="0"/>
              <a:t> </a:t>
            </a:r>
            <a:r>
              <a:rPr lang="en-US" sz="2000"/>
              <a:t>Million Euro</a:t>
            </a:r>
            <a:r>
              <a:rPr lang="en-US" sz="2000" baseline="0"/>
              <a:t> -</a:t>
            </a:r>
            <a:r>
              <a:rPr lang="en-US" sz="2000"/>
              <a:t> 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Total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Tabelle1!$B$10:$B$24</c:f>
              <c:numCache>
                <c:formatCode>General</c:formatCode>
                <c:ptCount val="15"/>
                <c:pt idx="0">
                  <c:v>2001.0</c:v>
                </c:pt>
                <c:pt idx="1">
                  <c:v>2002.0</c:v>
                </c:pt>
                <c:pt idx="2">
                  <c:v>2003.0</c:v>
                </c:pt>
                <c:pt idx="3">
                  <c:v>2004.0</c:v>
                </c:pt>
                <c:pt idx="4">
                  <c:v>2005.0</c:v>
                </c:pt>
                <c:pt idx="5">
                  <c:v>2006.0</c:v>
                </c:pt>
                <c:pt idx="6">
                  <c:v>2007.0</c:v>
                </c:pt>
                <c:pt idx="7">
                  <c:v>2008.0</c:v>
                </c:pt>
                <c:pt idx="8">
                  <c:v>2009.0</c:v>
                </c:pt>
                <c:pt idx="9">
                  <c:v>2010.0</c:v>
                </c:pt>
                <c:pt idx="10">
                  <c:v>2011.0</c:v>
                </c:pt>
                <c:pt idx="11">
                  <c:v>2012.0</c:v>
                </c:pt>
                <c:pt idx="12">
                  <c:v>2013.0</c:v>
                </c:pt>
                <c:pt idx="13">
                  <c:v>2014.0</c:v>
                </c:pt>
                <c:pt idx="14">
                  <c:v>2015.0</c:v>
                </c:pt>
              </c:numCache>
            </c:numRef>
          </c:cat>
          <c:val>
            <c:numRef>
              <c:f>Tabelle1!$C$10:$C$24</c:f>
              <c:numCache>
                <c:formatCode>0</c:formatCode>
                <c:ptCount val="15"/>
                <c:pt idx="0">
                  <c:v>808.1286836935166</c:v>
                </c:pt>
                <c:pt idx="1">
                  <c:v>1965.484405697445</c:v>
                </c:pt>
                <c:pt idx="2">
                  <c:v>2292.77652259332</c:v>
                </c:pt>
                <c:pt idx="3">
                  <c:v>2502.889980353634</c:v>
                </c:pt>
                <c:pt idx="4">
                  <c:v>3286.197568762279</c:v>
                </c:pt>
                <c:pt idx="5" formatCode="General">
                  <c:v>4701.0</c:v>
                </c:pt>
                <c:pt idx="6" formatCode="General">
                  <c:v>6281.0</c:v>
                </c:pt>
                <c:pt idx="7" formatCode="General">
                  <c:v>9221.0</c:v>
                </c:pt>
                <c:pt idx="8" formatCode="General">
                  <c:v>10738.0</c:v>
                </c:pt>
                <c:pt idx="9" formatCode="General">
                  <c:v>12578.0</c:v>
                </c:pt>
                <c:pt idx="10" formatCode="General">
                  <c:v>13418.0</c:v>
                </c:pt>
                <c:pt idx="11" formatCode="General">
                  <c:v>13421.0</c:v>
                </c:pt>
                <c:pt idx="12" formatCode="General">
                  <c:v>13842.0</c:v>
                </c:pt>
                <c:pt idx="13" formatCode="General">
                  <c:v>14114.0</c:v>
                </c:pt>
                <c:pt idx="14" formatCode="General">
                  <c:v>14290.0</c:v>
                </c:pt>
              </c:numCache>
            </c:numRef>
          </c:val>
        </c:ser>
        <c:ser>
          <c:idx val="1"/>
          <c:order val="1"/>
          <c:tx>
            <c:v>Individual contributions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Tabelle1!$B$10:$B$24</c:f>
              <c:numCache>
                <c:formatCode>General</c:formatCode>
                <c:ptCount val="15"/>
                <c:pt idx="0">
                  <c:v>2001.0</c:v>
                </c:pt>
                <c:pt idx="1">
                  <c:v>2002.0</c:v>
                </c:pt>
                <c:pt idx="2">
                  <c:v>2003.0</c:v>
                </c:pt>
                <c:pt idx="3">
                  <c:v>2004.0</c:v>
                </c:pt>
                <c:pt idx="4">
                  <c:v>2005.0</c:v>
                </c:pt>
                <c:pt idx="5">
                  <c:v>2006.0</c:v>
                </c:pt>
                <c:pt idx="6">
                  <c:v>2007.0</c:v>
                </c:pt>
                <c:pt idx="7">
                  <c:v>2008.0</c:v>
                </c:pt>
                <c:pt idx="8">
                  <c:v>2009.0</c:v>
                </c:pt>
                <c:pt idx="9">
                  <c:v>2010.0</c:v>
                </c:pt>
                <c:pt idx="10">
                  <c:v>2011.0</c:v>
                </c:pt>
                <c:pt idx="11">
                  <c:v>2012.0</c:v>
                </c:pt>
                <c:pt idx="12">
                  <c:v>2013.0</c:v>
                </c:pt>
                <c:pt idx="13">
                  <c:v>2014.0</c:v>
                </c:pt>
                <c:pt idx="14">
                  <c:v>2015.0</c:v>
                </c:pt>
              </c:numCache>
            </c:numRef>
          </c:cat>
          <c:val>
            <c:numRef>
              <c:f>Tabelle1!$D$10:$D$24</c:f>
              <c:numCache>
                <c:formatCode>0</c:formatCode>
                <c:ptCount val="15"/>
                <c:pt idx="0">
                  <c:v>539.1343330680026</c:v>
                </c:pt>
                <c:pt idx="1">
                  <c:v>1311.25171721182</c:v>
                </c:pt>
                <c:pt idx="2">
                  <c:v>1529.601122104361</c:v>
                </c:pt>
                <c:pt idx="3">
                  <c:v>1669.776048702042</c:v>
                </c:pt>
                <c:pt idx="4">
                  <c:v>2192.351255825813</c:v>
                </c:pt>
                <c:pt idx="5" formatCode="General">
                  <c:v>3527.0</c:v>
                </c:pt>
                <c:pt idx="6" formatCode="General">
                  <c:v>4712.0</c:v>
                </c:pt>
                <c:pt idx="7" formatCode="General">
                  <c:v>6995.0</c:v>
                </c:pt>
                <c:pt idx="8" formatCode="General">
                  <c:v>7790.0</c:v>
                </c:pt>
                <c:pt idx="9" formatCode="General">
                  <c:v>9274.0</c:v>
                </c:pt>
                <c:pt idx="10" formatCode="General">
                  <c:v>9894.0</c:v>
                </c:pt>
                <c:pt idx="11" formatCode="General">
                  <c:v>10433.0</c:v>
                </c:pt>
                <c:pt idx="12" formatCode="General">
                  <c:v>10888.0</c:v>
                </c:pt>
                <c:pt idx="13" formatCode="General">
                  <c:v>11227.0</c:v>
                </c:pt>
                <c:pt idx="14" formatCode="General">
                  <c:v>11370.0</c:v>
                </c:pt>
              </c:numCache>
            </c:numRef>
          </c:val>
        </c:ser>
        <c:ser>
          <c:idx val="2"/>
          <c:order val="2"/>
          <c:tx>
            <c:v>State subsidies</c:v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Tabelle1!$B$10:$B$24</c:f>
              <c:numCache>
                <c:formatCode>General</c:formatCode>
                <c:ptCount val="15"/>
                <c:pt idx="0">
                  <c:v>2001.0</c:v>
                </c:pt>
                <c:pt idx="1">
                  <c:v>2002.0</c:v>
                </c:pt>
                <c:pt idx="2">
                  <c:v>2003.0</c:v>
                </c:pt>
                <c:pt idx="3">
                  <c:v>2004.0</c:v>
                </c:pt>
                <c:pt idx="4">
                  <c:v>2005.0</c:v>
                </c:pt>
                <c:pt idx="5">
                  <c:v>2006.0</c:v>
                </c:pt>
                <c:pt idx="6">
                  <c:v>2007.0</c:v>
                </c:pt>
                <c:pt idx="7">
                  <c:v>2008.0</c:v>
                </c:pt>
                <c:pt idx="8">
                  <c:v>2009.0</c:v>
                </c:pt>
                <c:pt idx="9">
                  <c:v>2010.0</c:v>
                </c:pt>
                <c:pt idx="10">
                  <c:v>2011.0</c:v>
                </c:pt>
                <c:pt idx="11">
                  <c:v>2012.0</c:v>
                </c:pt>
                <c:pt idx="12">
                  <c:v>2013.0</c:v>
                </c:pt>
                <c:pt idx="13">
                  <c:v>2014.0</c:v>
                </c:pt>
                <c:pt idx="14">
                  <c:v>2015.0</c:v>
                </c:pt>
              </c:numCache>
            </c:numRef>
          </c:cat>
          <c:val>
            <c:numRef>
              <c:f>Tabelle1!$E$10:$E$24</c:f>
              <c:numCache>
                <c:formatCode>0</c:formatCode>
                <c:ptCount val="15"/>
                <c:pt idx="0">
                  <c:v>268.9943506255141</c:v>
                </c:pt>
                <c:pt idx="1">
                  <c:v>654.2326884856253</c:v>
                </c:pt>
                <c:pt idx="2">
                  <c:v>763.1754004889588</c:v>
                </c:pt>
                <c:pt idx="3">
                  <c:v>833.1139316515926</c:v>
                </c:pt>
                <c:pt idx="4">
                  <c:v>1093.846312936466</c:v>
                </c:pt>
                <c:pt idx="5" formatCode="General">
                  <c:v>1174.0</c:v>
                </c:pt>
                <c:pt idx="6" formatCode="General">
                  <c:v>1569.0</c:v>
                </c:pt>
                <c:pt idx="7" formatCode="General">
                  <c:v>2226.0</c:v>
                </c:pt>
                <c:pt idx="8" formatCode="General">
                  <c:v>2948.0</c:v>
                </c:pt>
                <c:pt idx="9" formatCode="General">
                  <c:v>3304.0</c:v>
                </c:pt>
                <c:pt idx="10" formatCode="General">
                  <c:v>3524.0</c:v>
                </c:pt>
                <c:pt idx="11" formatCode="General">
                  <c:v>2988.0</c:v>
                </c:pt>
                <c:pt idx="12" formatCode="General">
                  <c:v>2954.0</c:v>
                </c:pt>
                <c:pt idx="13" formatCode="General">
                  <c:v>2887.0</c:v>
                </c:pt>
                <c:pt idx="14" formatCode="General">
                  <c:v>2920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089894248"/>
        <c:axId val="2089889736"/>
      </c:barChart>
      <c:catAx>
        <c:axId val="20898942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89889736"/>
        <c:crosses val="autoZero"/>
        <c:auto val="1"/>
        <c:lblAlgn val="ctr"/>
        <c:lblOffset val="100"/>
        <c:noMultiLvlLbl val="0"/>
      </c:catAx>
      <c:valAx>
        <c:axId val="20898897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898942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2400"/>
              <a:t>Annual flow of funds and accumulated fund (s)</a:t>
            </a:r>
            <a:br>
              <a:rPr lang="de-DE" sz="2400"/>
            </a:br>
            <a:r>
              <a:rPr lang="de-DE" sz="2400"/>
              <a:t>- MillionEuros -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Annual inflow</c:v>
          </c:tx>
          <c:spPr>
            <a:gradFill rotWithShape="1">
              <a:gsLst>
                <a:gs pos="0">
                  <a:schemeClr val="accent1">
                    <a:lumMod val="110000"/>
                    <a:satMod val="105000"/>
                    <a:tint val="67000"/>
                  </a:schemeClr>
                </a:gs>
                <a:gs pos="50000">
                  <a:schemeClr val="accent1">
                    <a:lumMod val="105000"/>
                    <a:satMod val="103000"/>
                    <a:tint val="73000"/>
                  </a:schemeClr>
                </a:gs>
                <a:gs pos="100000">
                  <a:schemeClr val="accent1">
                    <a:lumMod val="105000"/>
                    <a:satMod val="109000"/>
                    <a:tint val="81000"/>
                  </a:schemeClr>
                </a:gs>
              </a:gsLst>
              <a:lin ang="5400000" scaled="0"/>
            </a:gradFill>
            <a:ln w="9525" cap="flat" cmpd="sng" algn="ctr">
              <a:solidFill>
                <a:schemeClr val="accent1">
                  <a:shade val="95000"/>
                </a:schemeClr>
              </a:solidFill>
              <a:round/>
            </a:ln>
            <a:effectLst/>
          </c:spPr>
          <c:invertIfNegative val="0"/>
          <c:cat>
            <c:numRef>
              <c:f>Tabelle1!$B$10:$B$24</c:f>
              <c:numCache>
                <c:formatCode>General</c:formatCode>
                <c:ptCount val="15"/>
                <c:pt idx="0">
                  <c:v>2001.0</c:v>
                </c:pt>
                <c:pt idx="1">
                  <c:v>2002.0</c:v>
                </c:pt>
                <c:pt idx="2">
                  <c:v>2003.0</c:v>
                </c:pt>
                <c:pt idx="3">
                  <c:v>2004.0</c:v>
                </c:pt>
                <c:pt idx="4">
                  <c:v>2005.0</c:v>
                </c:pt>
                <c:pt idx="5">
                  <c:v>2006.0</c:v>
                </c:pt>
                <c:pt idx="6">
                  <c:v>2007.0</c:v>
                </c:pt>
                <c:pt idx="7">
                  <c:v>2008.0</c:v>
                </c:pt>
                <c:pt idx="8">
                  <c:v>2009.0</c:v>
                </c:pt>
                <c:pt idx="9">
                  <c:v>2010.0</c:v>
                </c:pt>
                <c:pt idx="10">
                  <c:v>2011.0</c:v>
                </c:pt>
                <c:pt idx="11">
                  <c:v>2012.0</c:v>
                </c:pt>
                <c:pt idx="12">
                  <c:v>2013.0</c:v>
                </c:pt>
                <c:pt idx="13">
                  <c:v>2014.0</c:v>
                </c:pt>
                <c:pt idx="14">
                  <c:v>2015.0</c:v>
                </c:pt>
              </c:numCache>
            </c:numRef>
          </c:cat>
          <c:val>
            <c:numRef>
              <c:f>Tabelle1!$H$10:$H$24</c:f>
              <c:numCache>
                <c:formatCode>0</c:formatCode>
                <c:ptCount val="15"/>
                <c:pt idx="0">
                  <c:v>808.1286836935166</c:v>
                </c:pt>
                <c:pt idx="1">
                  <c:v>1965.484405697445</c:v>
                </c:pt>
                <c:pt idx="2">
                  <c:v>2292.77652259332</c:v>
                </c:pt>
                <c:pt idx="3">
                  <c:v>2502.889980353634</c:v>
                </c:pt>
                <c:pt idx="4">
                  <c:v>3286.197568762279</c:v>
                </c:pt>
                <c:pt idx="5" formatCode="General">
                  <c:v>4701.0</c:v>
                </c:pt>
                <c:pt idx="6" formatCode="General">
                  <c:v>6281.0</c:v>
                </c:pt>
                <c:pt idx="7" formatCode="General">
                  <c:v>9171.0</c:v>
                </c:pt>
                <c:pt idx="8" formatCode="General">
                  <c:v>10638.0</c:v>
                </c:pt>
                <c:pt idx="9" formatCode="General">
                  <c:v>12418.0</c:v>
                </c:pt>
                <c:pt idx="10" formatCode="General">
                  <c:v>13198.0</c:v>
                </c:pt>
                <c:pt idx="11" formatCode="General">
                  <c:v>13186.0</c:v>
                </c:pt>
                <c:pt idx="12" formatCode="General">
                  <c:v>13572.0</c:v>
                </c:pt>
                <c:pt idx="13" formatCode="General">
                  <c:v>13784.0</c:v>
                </c:pt>
                <c:pt idx="14" formatCode="General">
                  <c:v>13900.0</c:v>
                </c:pt>
              </c:numCache>
            </c:numRef>
          </c:val>
        </c:ser>
        <c:ser>
          <c:idx val="1"/>
          <c:order val="1"/>
          <c:tx>
            <c:v>Accumulated funds (s)</c:v>
          </c:tx>
          <c:spPr>
            <a:gradFill rotWithShape="1">
              <a:gsLst>
                <a:gs pos="0">
                  <a:schemeClr val="accent2">
                    <a:lumMod val="110000"/>
                    <a:satMod val="105000"/>
                    <a:tint val="67000"/>
                  </a:schemeClr>
                </a:gs>
                <a:gs pos="50000">
                  <a:schemeClr val="accent2">
                    <a:lumMod val="105000"/>
                    <a:satMod val="103000"/>
                    <a:tint val="73000"/>
                  </a:schemeClr>
                </a:gs>
                <a:gs pos="100000">
                  <a:schemeClr val="accent2">
                    <a:lumMod val="105000"/>
                    <a:satMod val="109000"/>
                    <a:tint val="81000"/>
                  </a:schemeClr>
                </a:gs>
              </a:gsLst>
              <a:lin ang="5400000" scaled="0"/>
            </a:gradFill>
            <a:ln w="9525" cap="flat" cmpd="sng" algn="ctr">
              <a:solidFill>
                <a:schemeClr val="accent2">
                  <a:shade val="95000"/>
                </a:schemeClr>
              </a:solidFill>
              <a:round/>
            </a:ln>
            <a:effectLst/>
          </c:spPr>
          <c:invertIfNegative val="0"/>
          <c:cat>
            <c:numRef>
              <c:f>Tabelle1!$B$10:$B$24</c:f>
              <c:numCache>
                <c:formatCode>General</c:formatCode>
                <c:ptCount val="15"/>
                <c:pt idx="0">
                  <c:v>2001.0</c:v>
                </c:pt>
                <c:pt idx="1">
                  <c:v>2002.0</c:v>
                </c:pt>
                <c:pt idx="2">
                  <c:v>2003.0</c:v>
                </c:pt>
                <c:pt idx="3">
                  <c:v>2004.0</c:v>
                </c:pt>
                <c:pt idx="4">
                  <c:v>2005.0</c:v>
                </c:pt>
                <c:pt idx="5">
                  <c:v>2006.0</c:v>
                </c:pt>
                <c:pt idx="6">
                  <c:v>2007.0</c:v>
                </c:pt>
                <c:pt idx="7">
                  <c:v>2008.0</c:v>
                </c:pt>
                <c:pt idx="8">
                  <c:v>2009.0</c:v>
                </c:pt>
                <c:pt idx="9">
                  <c:v>2010.0</c:v>
                </c:pt>
                <c:pt idx="10">
                  <c:v>2011.0</c:v>
                </c:pt>
                <c:pt idx="11">
                  <c:v>2012.0</c:v>
                </c:pt>
                <c:pt idx="12">
                  <c:v>2013.0</c:v>
                </c:pt>
                <c:pt idx="13">
                  <c:v>2014.0</c:v>
                </c:pt>
                <c:pt idx="14">
                  <c:v>2015.0</c:v>
                </c:pt>
              </c:numCache>
            </c:numRef>
          </c:cat>
          <c:val>
            <c:numRef>
              <c:f>Tabelle1!$J$10:$J$24</c:f>
              <c:numCache>
                <c:formatCode>0</c:formatCode>
                <c:ptCount val="15"/>
                <c:pt idx="0">
                  <c:v>820.2506139489192</c:v>
                </c:pt>
                <c:pt idx="1">
                  <c:v>2839.824804150294</c:v>
                </c:pt>
                <c:pt idx="2">
                  <c:v>5252.187718707021</c:v>
                </c:pt>
                <c:pt idx="3">
                  <c:v>7950.186680327171</c:v>
                </c:pt>
                <c:pt idx="4">
                  <c:v>11524.1828130307</c:v>
                </c:pt>
                <c:pt idx="5">
                  <c:v>16641.42329742162</c:v>
                </c:pt>
                <c:pt idx="6">
                  <c:v>23515.88099634427</c:v>
                </c:pt>
                <c:pt idx="7">
                  <c:v>33529.9224262346</c:v>
                </c:pt>
                <c:pt idx="8">
                  <c:v>45333.39009902164</c:v>
                </c:pt>
                <c:pt idx="9">
                  <c:v>59297.66180199228</c:v>
                </c:pt>
                <c:pt idx="10">
                  <c:v>74472.56165605204</c:v>
                </c:pt>
                <c:pt idx="11">
                  <c:v>90090.5285057336</c:v>
                </c:pt>
                <c:pt idx="12">
                  <c:v>106568.8243609056</c:v>
                </c:pt>
                <c:pt idx="13">
                  <c:v>123756.6490917328</c:v>
                </c:pt>
                <c:pt idx="14">
                  <c:v>141577.848564484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2092683544"/>
        <c:axId val="2092687224"/>
      </c:barChart>
      <c:catAx>
        <c:axId val="20926835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2687224"/>
        <c:crosses val="autoZero"/>
        <c:auto val="1"/>
        <c:lblAlgn val="ctr"/>
        <c:lblOffset val="100"/>
        <c:noMultiLvlLbl val="0"/>
      </c:catAx>
      <c:valAx>
        <c:axId val="20926872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26835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  <c:userShapes r:id="rId2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6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3851</cdr:x>
      <cdr:y>0.23693</cdr:y>
    </cdr:from>
    <cdr:to>
      <cdr:x>0.59797</cdr:x>
      <cdr:y>0.48258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1287445" y="1423515"/>
          <a:ext cx="4270550" cy="1475853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4">
            <a:lumMod val="40000"/>
            <a:lumOff val="60000"/>
          </a:schemeClr>
        </a:solidFill>
        <a:ln xmlns:a="http://schemas.openxmlformats.org/drawingml/2006/main">
          <a:solidFill>
            <a:srgbClr val="FF0000"/>
          </a:solidFill>
          <a:prstDash val="solid"/>
        </a:ln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de-DE" sz="1200" u="sng"/>
            <a:t>In </a:t>
          </a:r>
          <a:r>
            <a:rPr lang="de-DE" sz="1600" u="sng"/>
            <a:t>2015</a:t>
          </a:r>
          <a:r>
            <a:rPr lang="de-DE" sz="1200" u="sng"/>
            <a:t> (for comparison):</a:t>
          </a:r>
        </a:p>
        <a:p xmlns:a="http://schemas.openxmlformats.org/drawingml/2006/main">
          <a:endParaRPr lang="de-DE" sz="600"/>
        </a:p>
        <a:p xmlns:a="http://schemas.openxmlformats.org/drawingml/2006/main">
          <a:pPr lvl="1"/>
          <a:r>
            <a:rPr lang="de-DE" sz="1200"/>
            <a:t>Annual flow into</a:t>
          </a:r>
          <a:r>
            <a:rPr lang="de-DE" sz="1200" baseline="0"/>
            <a:t> Riester products </a:t>
          </a:r>
          <a:r>
            <a:rPr lang="de-DE" sz="1200"/>
            <a:t>= around 1</a:t>
          </a:r>
          <a:r>
            <a:rPr lang="de-DE" sz="1200" baseline="0"/>
            <a:t>,5 per cent of revenue of Germany's total social budget;</a:t>
          </a:r>
        </a:p>
        <a:p xmlns:a="http://schemas.openxmlformats.org/drawingml/2006/main">
          <a:endParaRPr lang="de-DE" sz="600" baseline="0"/>
        </a:p>
        <a:p xmlns:a="http://schemas.openxmlformats.org/drawingml/2006/main">
          <a:pPr lvl="1"/>
          <a:r>
            <a:rPr lang="de-DE" sz="1200" baseline="0"/>
            <a:t>Accumulated funds under Riester contracts = around 2,5 per cent of Germany's private households' total accumulated monetary wealth</a:t>
          </a:r>
          <a:endParaRPr lang="de-DE" sz="120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C65DB725-3F53-423B-B263-9F51CF8FAAF6}" type="datetimeFigureOut">
              <a:rPr lang="en-US"/>
              <a:pPr>
                <a:defRPr/>
              </a:pPr>
              <a:t>31/08/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54AC8908-A1FB-4505-B212-4B2A7EC61AD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2496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72848AB1-372C-417D-B58B-3446A2DC6E62}" type="datetimeFigureOut">
              <a:rPr lang="en-US"/>
              <a:pPr>
                <a:defRPr/>
              </a:pPr>
              <a:t>31/08/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7713"/>
            <a:ext cx="5373688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765" tIns="49881" rIns="99765" bIns="4988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928" y="4719044"/>
            <a:ext cx="5434648" cy="4468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B9DF5CB4-1F12-4B4C-891B-F676007582B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3229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it-IT" sz="1000" dirty="0"/>
          </a:p>
        </p:txBody>
      </p:sp>
    </p:spTree>
    <p:extLst>
      <p:ext uri="{BB962C8B-B14F-4D97-AF65-F5344CB8AC3E}">
        <p14:creationId xmlns:p14="http://schemas.microsoft.com/office/powerpoint/2010/main" val="19844084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643613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684173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32749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9526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05681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94486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12606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51477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00807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508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3899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10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200340" y="116540"/>
            <a:ext cx="9433310" cy="67184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Optane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smtClean="0"/>
              <a:t>Click to edit Master subtitle style</a:t>
            </a:r>
            <a:endParaRPr lang="it-IT"/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468" y="476590"/>
            <a:ext cx="3766036" cy="32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i="1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BOZZA</a:t>
            </a:r>
            <a:r>
              <a:rPr lang="en-US" sz="1800" b="1" i="1" u="sng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 PER DISCUSSIONE</a:t>
            </a:r>
            <a:endParaRPr lang="en-US" sz="1400" b="1" i="1" u="sng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cs typeface="Arial" charset="0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31/08/16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31/08/16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2860" y="0"/>
            <a:ext cx="3599688" cy="3599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34946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31/08/16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31/08/16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31/08/16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31/08/16</a:t>
            </a:fld>
            <a:endParaRPr lang="it-I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31/08/16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332" y="6356361"/>
            <a:ext cx="2311400" cy="3651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31/08/16</a:t>
            </a:fld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31/08/16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CN" smtClean="0"/>
              <a:t>Click icon to add picture</a:t>
            </a:r>
            <a:endParaRPr lang="it-I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31/08/16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4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14178" name="Picture 2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525" y="0"/>
            <a:ext cx="908650" cy="908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smtClean="0"/>
              <a:t>Click to edit Master title style</a:t>
            </a:r>
            <a:endParaRPr lang="it-IT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6370" y="980661"/>
            <a:ext cx="8994330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31/08/16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44360" y="6381410"/>
            <a:ext cx="921728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364" y="908650"/>
            <a:ext cx="920159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646464"/>
              </a:solidFill>
              <a:latin typeface="Optane" pitchFamily="2" charset="0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339635" y="6530579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t>Page </a:t>
            </a:r>
            <a:fld id="{176C9665-13A1-4E4A-84AC-67452C24411B}" type="slidenum">
              <a:rPr lang="en-US" sz="110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100" dirty="0">
              <a:solidFill>
                <a:srgbClr val="000000"/>
              </a:solidFill>
              <a:latin typeface="Optane" pitchFamily="2" charset="0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FFC000"/>
        </a:buClr>
        <a:buSzPct val="75000"/>
        <a:buFont typeface="Arial" pitchFamily="34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Relationship Id="rId3" Type="http://schemas.openxmlformats.org/officeDocument/2006/relationships/chart" Target="../charts/char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.xml"/><Relationship Id="rId3" Type="http://schemas.openxmlformats.org/officeDocument/2006/relationships/chart" Target="../charts/char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.xml"/><Relationship Id="rId3" Type="http://schemas.openxmlformats.org/officeDocument/2006/relationships/chart" Target="../charts/char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 txBox="1">
            <a:spLocks noChangeArrowheads="1"/>
          </p:cNvSpPr>
          <p:nvPr/>
        </p:nvSpPr>
        <p:spPr>
          <a:xfrm>
            <a:off x="0" y="4005064"/>
            <a:ext cx="9906000" cy="2339102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en-GB" dirty="0"/>
              <a:t>Session Five: “Sustainability of Social Security System and the Financial Reform</a:t>
            </a:r>
            <a:r>
              <a:rPr lang="en-GB" dirty="0" smtClean="0"/>
              <a:t>”</a:t>
            </a: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en-US" sz="3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Challenges on Social Security Financing and Reform Experiences in EU - the ‘</a:t>
            </a:r>
            <a:r>
              <a:rPr lang="en-US" sz="32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Riester</a:t>
            </a:r>
            <a:r>
              <a:rPr lang="en-US" sz="3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 Pensions’</a:t>
            </a:r>
            <a:endParaRPr lang="it-IT" sz="800" b="1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it-IT" sz="20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Diaoyutai </a:t>
            </a:r>
            <a:r>
              <a:rPr lang="it-IT" sz="2000" i="1" kern="0" noProof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Hotel, Beijing</a:t>
            </a: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it-IT" sz="2000" i="1" kern="0" noProof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September 28 to 29, </a:t>
            </a:r>
            <a:r>
              <a:rPr lang="it-IT" sz="20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2016 – Day 2, 10.45h</a:t>
            </a:r>
            <a:endParaRPr lang="it-IT" sz="2000" i="1" kern="0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317248471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8065020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 smtClean="0"/>
              <a:t>2 The </a:t>
            </a:r>
            <a:r>
              <a:rPr lang="en-US" altLang="it-IT" dirty="0" err="1" smtClean="0"/>
              <a:t>Riester</a:t>
            </a:r>
            <a:r>
              <a:rPr lang="en-US" altLang="it-IT" dirty="0" smtClean="0"/>
              <a:t> Pension – a few interim conclusions.</a:t>
            </a:r>
            <a:endParaRPr lang="it-IT" dirty="0"/>
          </a:p>
        </p:txBody>
      </p:sp>
      <p:sp>
        <p:nvSpPr>
          <p:cNvPr id="5" name="Rectangle 4"/>
          <p:cNvSpPr/>
          <p:nvPr/>
        </p:nvSpPr>
        <p:spPr>
          <a:xfrm>
            <a:off x="350425" y="1268700"/>
            <a:ext cx="9200197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ystem has reached a stable plateau – stagnant in future?</a:t>
            </a:r>
          </a:p>
          <a:p>
            <a:pPr marL="342900" indent="-342900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ith 30+ % coverage it remains far from expectations.</a:t>
            </a:r>
          </a:p>
          <a:p>
            <a:pPr marL="342900" indent="-342900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f no significant improvement in coverage (up to at least 75+ % of employed) the pension reform of 2001 must be re-considered (re-reformed?)</a:t>
            </a:r>
          </a:p>
          <a:p>
            <a:pPr marL="342900" indent="-342900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specially the low income earners have pulled out of the system (= rational economic decision). </a:t>
            </a:r>
          </a:p>
        </p:txBody>
      </p:sp>
    </p:spTree>
    <p:extLst>
      <p:ext uri="{BB962C8B-B14F-4D97-AF65-F5344CB8AC3E}">
        <p14:creationId xmlns:p14="http://schemas.microsoft.com/office/powerpoint/2010/main" val="275016575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44624"/>
            <a:ext cx="7993012" cy="86409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3 </a:t>
            </a: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Relevance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of </a:t>
            </a:r>
            <a:r>
              <a:rPr lang="it-IT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fully</a:t>
            </a:r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it-IT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funded</a:t>
            </a:r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individual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accounts from </a:t>
            </a:r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the </a:t>
            </a:r>
            <a:r>
              <a:rPr lang="it-IT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point</a:t>
            </a:r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of </a:t>
            </a: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view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of the </a:t>
            </a:r>
            <a:r>
              <a:rPr lang="it-IT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poor</a:t>
            </a:r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.</a:t>
            </a:r>
            <a:endParaRPr lang="it-IT" dirty="0"/>
          </a:p>
        </p:txBody>
      </p:sp>
      <p:sp>
        <p:nvSpPr>
          <p:cNvPr id="3" name="Rectangle 4"/>
          <p:cNvSpPr/>
          <p:nvPr/>
        </p:nvSpPr>
        <p:spPr>
          <a:xfrm>
            <a:off x="350425" y="1268700"/>
            <a:ext cx="9200197" cy="5170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or low income earners individual accounts are 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oblematic 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s they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:</a:t>
            </a:r>
          </a:p>
          <a:p>
            <a:pPr marL="800100" lvl="1" indent="-342900">
              <a:lnSpc>
                <a:spcPct val="150000"/>
              </a:lnSpc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oduce 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nly meaningless 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bsolute amounts of capital / annuities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. </a:t>
            </a:r>
            <a:endParaRPr lang="en-US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800100" lvl="1" indent="-342900">
              <a:lnSpc>
                <a:spcPct val="150000"/>
              </a:lnSpc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hen 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nnuities are low the 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government must 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tep-in 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t retirement in 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rder to top-up 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nnuities to just-above-poverty-line (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ocial assistance); </a:t>
            </a:r>
            <a:endParaRPr lang="en-US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800100" lvl="1" indent="-342900">
              <a:lnSpc>
                <a:spcPct val="150000"/>
              </a:lnSpc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or poor members 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ife-long 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aving 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trospectively 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ay turn 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ut 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“useless” 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cause 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poor would receive 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ocial assistance anyway; </a:t>
            </a:r>
            <a:b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</a:b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(=&gt; 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reat to the Finance 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inister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see Chile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)</a:t>
            </a:r>
          </a:p>
          <a:p>
            <a:pPr marL="800100" lvl="1" indent="-342900">
              <a:lnSpc>
                <a:spcPct val="150000"/>
              </a:lnSpc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ow annuities are relatively costly to buy, therefor low annuities must further be reduced or fund management must internally cross-subsidize from income earned on higher 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avings accounts 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/>
            </a:r>
            <a:b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</a:b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(=&gt; fund management not interested in these accounts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). </a:t>
            </a:r>
            <a:endParaRPr lang="de-DE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892465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0" y="44623"/>
            <a:ext cx="8553400" cy="81053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4 </a:t>
            </a: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Concluding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remarks</a:t>
            </a:r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: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the </a:t>
            </a:r>
            <a:r>
              <a:rPr lang="it-IT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political</a:t>
            </a:r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economy of </a:t>
            </a:r>
            <a:r>
              <a:rPr lang="it-IT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funding</a:t>
            </a:r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– 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‘Washington </a:t>
            </a: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Consensus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’, China and Europe.</a:t>
            </a:r>
            <a:endParaRPr lang="it-IT" dirty="0"/>
          </a:p>
        </p:txBody>
      </p:sp>
      <p:sp>
        <p:nvSpPr>
          <p:cNvPr id="2" name="Rechteck 1"/>
          <p:cNvSpPr/>
          <p:nvPr/>
        </p:nvSpPr>
        <p:spPr>
          <a:xfrm>
            <a:off x="128464" y="980728"/>
            <a:ext cx="9777536" cy="59323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latin typeface="Optane"/>
              </a:rPr>
              <a:t>1989</a:t>
            </a:r>
            <a:r>
              <a:rPr lang="en-US" dirty="0" smtClean="0">
                <a:latin typeface="Optane"/>
              </a:rPr>
              <a:t>:	Washington </a:t>
            </a:r>
            <a:r>
              <a:rPr lang="en-US" dirty="0">
                <a:latin typeface="Optane"/>
              </a:rPr>
              <a:t>Consensus: </a:t>
            </a:r>
            <a:r>
              <a:rPr lang="en-US" dirty="0" smtClean="0">
                <a:latin typeface="Optane"/>
              </a:rPr>
              <a:t>	</a:t>
            </a:r>
            <a:r>
              <a:rPr lang="en-US" sz="1400" dirty="0" smtClean="0">
                <a:latin typeface="Optane"/>
              </a:rPr>
              <a:t>1</a:t>
            </a:r>
            <a:r>
              <a:rPr lang="en-US" sz="1400" dirty="0">
                <a:latin typeface="Optane"/>
              </a:rPr>
              <a:t>. </a:t>
            </a:r>
            <a:r>
              <a:rPr lang="en-US" sz="1400" b="1" dirty="0">
                <a:latin typeface="Optane"/>
              </a:rPr>
              <a:t>Fiscal Discipline</a:t>
            </a:r>
            <a:r>
              <a:rPr lang="en-US" sz="1400" dirty="0">
                <a:latin typeface="Optane"/>
              </a:rPr>
              <a:t>. 2. </a:t>
            </a:r>
            <a:r>
              <a:rPr lang="en-US" sz="1400" b="1" dirty="0">
                <a:latin typeface="Optane"/>
              </a:rPr>
              <a:t>Reorder Public Expenditure Priorities</a:t>
            </a:r>
            <a:r>
              <a:rPr lang="en-US" sz="1400" dirty="0">
                <a:latin typeface="Optane"/>
              </a:rPr>
              <a:t>. 3. Tax </a:t>
            </a:r>
            <a:r>
              <a:rPr lang="en-US" sz="1400" dirty="0" smtClean="0">
                <a:latin typeface="Optane"/>
              </a:rPr>
              <a:t>					reform</a:t>
            </a:r>
            <a:r>
              <a:rPr lang="en-US" sz="1400" dirty="0">
                <a:latin typeface="Optane"/>
              </a:rPr>
              <a:t>. </a:t>
            </a:r>
            <a:r>
              <a:rPr lang="en-US" sz="1400" dirty="0" smtClean="0">
                <a:latin typeface="Optane"/>
              </a:rPr>
              <a:t>4</a:t>
            </a:r>
            <a:r>
              <a:rPr lang="en-US" sz="1400" dirty="0">
                <a:latin typeface="Optane"/>
              </a:rPr>
              <a:t>. Liberalize Interest Rates. 5. A Competitive Exchange Rate. 6. </a:t>
            </a:r>
            <a:r>
              <a:rPr lang="en-US" sz="1400" dirty="0" smtClean="0">
                <a:latin typeface="Optane"/>
              </a:rPr>
              <a:t>				Trade Liberalization</a:t>
            </a:r>
            <a:r>
              <a:rPr lang="en-US" sz="1400" dirty="0">
                <a:latin typeface="Optane"/>
              </a:rPr>
              <a:t>. 7. Liberalize Inward Foreign Direct Investment. 8. </a:t>
            </a:r>
            <a:r>
              <a:rPr lang="en-US" sz="1400" dirty="0" smtClean="0">
                <a:latin typeface="Optane"/>
              </a:rPr>
              <a:t>					</a:t>
            </a:r>
            <a:r>
              <a:rPr lang="en-US" sz="1400" b="1" dirty="0" smtClean="0">
                <a:latin typeface="Optane"/>
              </a:rPr>
              <a:t>Privatization</a:t>
            </a:r>
            <a:r>
              <a:rPr lang="en-US" sz="1400" dirty="0" smtClean="0">
                <a:latin typeface="Optane"/>
              </a:rPr>
              <a:t> </a:t>
            </a:r>
            <a:r>
              <a:rPr lang="en-US" sz="1200" dirty="0" smtClean="0">
                <a:latin typeface="Optane"/>
              </a:rPr>
              <a:t>(pensions!)</a:t>
            </a:r>
            <a:r>
              <a:rPr lang="en-US" sz="1400" dirty="0" smtClean="0">
                <a:latin typeface="Optane"/>
              </a:rPr>
              <a:t>. </a:t>
            </a:r>
            <a:r>
              <a:rPr lang="en-US" sz="1400" dirty="0">
                <a:latin typeface="Optane"/>
              </a:rPr>
              <a:t>9. </a:t>
            </a:r>
            <a:r>
              <a:rPr lang="en-US" sz="1400" b="1" dirty="0" smtClean="0">
                <a:latin typeface="Optane"/>
              </a:rPr>
              <a:t>Deregulation</a:t>
            </a:r>
            <a:r>
              <a:rPr lang="en-US" sz="1400" dirty="0" smtClean="0">
                <a:latin typeface="Optane"/>
              </a:rPr>
              <a:t> </a:t>
            </a:r>
            <a:r>
              <a:rPr lang="en-US" sz="1200" dirty="0" smtClean="0">
                <a:latin typeface="Optane"/>
              </a:rPr>
              <a:t>(</a:t>
            </a:r>
            <a:r>
              <a:rPr lang="en-US" sz="1200" dirty="0" err="1" smtClean="0">
                <a:latin typeface="Optane"/>
              </a:rPr>
              <a:t>labour</a:t>
            </a:r>
            <a:r>
              <a:rPr lang="en-US" sz="1200" dirty="0" smtClean="0">
                <a:latin typeface="Optane"/>
              </a:rPr>
              <a:t> markets!)</a:t>
            </a:r>
            <a:r>
              <a:rPr lang="en-US" sz="1400" dirty="0" smtClean="0">
                <a:latin typeface="Optane"/>
              </a:rPr>
              <a:t>. </a:t>
            </a:r>
            <a:r>
              <a:rPr lang="en-US" sz="1400" dirty="0">
                <a:latin typeface="Optane"/>
              </a:rPr>
              <a:t>10. </a:t>
            </a:r>
            <a:r>
              <a:rPr lang="en-US" sz="1400" b="1" dirty="0">
                <a:latin typeface="Optane"/>
              </a:rPr>
              <a:t>Property </a:t>
            </a:r>
            <a:r>
              <a:rPr lang="en-US" sz="1400" b="1" dirty="0" smtClean="0">
                <a:latin typeface="Optane"/>
              </a:rPr>
              <a:t>				Rights</a:t>
            </a:r>
            <a:r>
              <a:rPr lang="en-US" dirty="0" smtClean="0">
                <a:latin typeface="Optane"/>
              </a:rPr>
              <a:t> </a:t>
            </a:r>
            <a:endParaRPr lang="en-US" dirty="0">
              <a:latin typeface="Optane"/>
            </a:endParaRPr>
          </a:p>
          <a:p>
            <a:endParaRPr lang="en-US" sz="1050" dirty="0" smtClean="0">
              <a:latin typeface="Optane"/>
            </a:endParaRPr>
          </a:p>
          <a:p>
            <a:r>
              <a:rPr lang="en-US" dirty="0" smtClean="0">
                <a:latin typeface="Optane"/>
              </a:rPr>
              <a:t>1994:	World </a:t>
            </a:r>
            <a:r>
              <a:rPr lang="en-US" dirty="0">
                <a:latin typeface="Optane"/>
              </a:rPr>
              <a:t>Bank „Averting the old-age crisis. Policies to protect </a:t>
            </a:r>
            <a:r>
              <a:rPr lang="en-US" dirty="0" smtClean="0">
                <a:latin typeface="Optane"/>
              </a:rPr>
              <a:t>the </a:t>
            </a:r>
            <a:r>
              <a:rPr lang="en-US" dirty="0">
                <a:latin typeface="Optane"/>
              </a:rPr>
              <a:t>old and promote </a:t>
            </a:r>
            <a:r>
              <a:rPr lang="en-US" dirty="0" smtClean="0">
                <a:latin typeface="Optane"/>
              </a:rPr>
              <a:t>	growth.”</a:t>
            </a:r>
            <a:br>
              <a:rPr lang="en-US" dirty="0" smtClean="0">
                <a:latin typeface="Optane"/>
              </a:rPr>
            </a:br>
            <a:r>
              <a:rPr lang="en-US" dirty="0" smtClean="0">
                <a:latin typeface="Optane"/>
              </a:rPr>
              <a:t>	Most </a:t>
            </a:r>
            <a:r>
              <a:rPr lang="en-US" dirty="0">
                <a:latin typeface="Optane"/>
              </a:rPr>
              <a:t>influential book </a:t>
            </a:r>
            <a:r>
              <a:rPr lang="en-US" dirty="0" smtClean="0">
                <a:latin typeface="Optane"/>
              </a:rPr>
              <a:t>in which finance </a:t>
            </a:r>
            <a:r>
              <a:rPr lang="en-US" dirty="0">
                <a:latin typeface="Optane"/>
              </a:rPr>
              <a:t>market specialists told social </a:t>
            </a:r>
            <a:r>
              <a:rPr lang="en-US" dirty="0" smtClean="0">
                <a:latin typeface="Optane"/>
              </a:rPr>
              <a:t>politicians </a:t>
            </a:r>
            <a:r>
              <a:rPr lang="en-US" dirty="0">
                <a:latin typeface="Optane"/>
              </a:rPr>
              <a:t>how </a:t>
            </a:r>
            <a:r>
              <a:rPr lang="en-US" dirty="0" smtClean="0">
                <a:latin typeface="Optane"/>
              </a:rPr>
              <a:t>	to organize </a:t>
            </a:r>
            <a:r>
              <a:rPr lang="en-US" dirty="0">
                <a:latin typeface="Optane"/>
              </a:rPr>
              <a:t>best old-age income security (to the advantage of ALL</a:t>
            </a:r>
            <a:r>
              <a:rPr lang="en-US" dirty="0" smtClean="0">
                <a:latin typeface="Optane"/>
              </a:rPr>
              <a:t>).</a:t>
            </a:r>
            <a:endParaRPr lang="en-US" dirty="0">
              <a:latin typeface="Optane"/>
            </a:endParaRPr>
          </a:p>
          <a:p>
            <a:r>
              <a:rPr lang="en-US" dirty="0" smtClean="0">
                <a:latin typeface="Optane"/>
              </a:rPr>
              <a:t>	Many </a:t>
            </a:r>
            <a:r>
              <a:rPr lang="en-US" dirty="0">
                <a:latin typeface="Optane"/>
              </a:rPr>
              <a:t>governments followed the </a:t>
            </a:r>
            <a:r>
              <a:rPr lang="en-US" dirty="0" smtClean="0">
                <a:latin typeface="Optane"/>
              </a:rPr>
              <a:t>advice.</a:t>
            </a:r>
          </a:p>
          <a:p>
            <a:endParaRPr lang="en-US" sz="1050" dirty="0">
              <a:latin typeface="Optane"/>
            </a:endParaRPr>
          </a:p>
          <a:p>
            <a:r>
              <a:rPr lang="en-US" i="1" u="sng" dirty="0" smtClean="0">
                <a:latin typeface="Optane"/>
              </a:rPr>
              <a:t>Somehow these developments </a:t>
            </a:r>
            <a:r>
              <a:rPr lang="en-US" i="1" u="sng" dirty="0">
                <a:latin typeface="Optane"/>
              </a:rPr>
              <a:t>t</a:t>
            </a:r>
            <a:r>
              <a:rPr lang="en-US" i="1" u="sng" dirty="0" smtClean="0">
                <a:latin typeface="Optane"/>
              </a:rPr>
              <a:t>ook place at an exceptional moment: liberated capital markets produced for some time exceptionally high </a:t>
            </a:r>
            <a:r>
              <a:rPr lang="en-US" i="1" u="sng" dirty="0" err="1" smtClean="0">
                <a:latin typeface="Optane"/>
              </a:rPr>
              <a:t>RoRs</a:t>
            </a:r>
            <a:r>
              <a:rPr lang="en-US" i="1" u="sng" dirty="0" smtClean="0">
                <a:latin typeface="Optane"/>
              </a:rPr>
              <a:t> – fostering the belief that ageing problems can be solved through funded DC pensions. This belief triggered pension policy reactions around the globe, including Europe and, with some time-lag?, China.</a:t>
            </a:r>
            <a:endParaRPr lang="en-US" i="1" u="sng" dirty="0">
              <a:latin typeface="Optane"/>
            </a:endParaRPr>
          </a:p>
          <a:p>
            <a:endParaRPr lang="en-US" sz="1050" dirty="0">
              <a:latin typeface="Optane"/>
            </a:endParaRPr>
          </a:p>
          <a:p>
            <a:r>
              <a:rPr lang="en-US" dirty="0">
                <a:latin typeface="Optane"/>
              </a:rPr>
              <a:t>Meanwhile </a:t>
            </a:r>
            <a:r>
              <a:rPr lang="en-US" dirty="0" smtClean="0">
                <a:latin typeface="Optane"/>
              </a:rPr>
              <a:t>there is some disillusionment; many </a:t>
            </a:r>
            <a:r>
              <a:rPr lang="en-US" dirty="0">
                <a:latin typeface="Optane"/>
              </a:rPr>
              <a:t>of those reformers are re-reforming / have re-reformed, among these:</a:t>
            </a:r>
          </a:p>
          <a:p>
            <a:endParaRPr lang="en-US" sz="1050" dirty="0" smtClean="0">
              <a:latin typeface="Optane"/>
            </a:endParaRPr>
          </a:p>
          <a:p>
            <a:r>
              <a:rPr lang="en-US" dirty="0" smtClean="0">
                <a:latin typeface="Optane"/>
              </a:rPr>
              <a:t>Argentina</a:t>
            </a:r>
            <a:r>
              <a:rPr lang="en-US" dirty="0">
                <a:latin typeface="Optane"/>
              </a:rPr>
              <a:t>, Chile, Poland, Hungary.</a:t>
            </a:r>
          </a:p>
          <a:p>
            <a:r>
              <a:rPr lang="en-US" dirty="0" smtClean="0">
                <a:latin typeface="Optane"/>
              </a:rPr>
              <a:t>Germany: will sooner or later.</a:t>
            </a:r>
            <a:endParaRPr lang="en-US" dirty="0">
              <a:latin typeface="Optane"/>
            </a:endParaRPr>
          </a:p>
          <a:p>
            <a:r>
              <a:rPr lang="en-US" dirty="0" smtClean="0">
                <a:latin typeface="Optane"/>
              </a:rPr>
              <a:t>(Switzerland?)</a:t>
            </a:r>
            <a:endParaRPr lang="en-US" dirty="0">
              <a:latin typeface="Optane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 bwMode="auto">
          <a:xfrm>
            <a:off x="4088904" y="5661248"/>
            <a:ext cx="5817096" cy="115212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90488" tIns="44450" rIns="90488" bIns="44450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itchFamily="34" charset="0"/>
              </a:defRPr>
            </a:lvl5pPr>
            <a:lvl6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itchFamily="34" charset="0"/>
              </a:defRPr>
            </a:lvl6pPr>
            <a:lvl7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itchFamily="34" charset="0"/>
              </a:defRPr>
            </a:lvl7pPr>
            <a:lvl8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itchFamily="34" charset="0"/>
              </a:defRPr>
            </a:lvl8pPr>
            <a:lvl9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itchFamily="34" charset="0"/>
              </a:defRPr>
            </a:lvl9pPr>
          </a:lstStyle>
          <a:p>
            <a:pPr marL="457200" indent="-457200" algn="l" eaLnBrk="1" fontAlgn="auto" hangingPunct="1"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/>
            </a:pPr>
            <a:r>
              <a:rPr lang="en-GB" sz="1400" kern="0" dirty="0" smtClean="0">
                <a:solidFill>
                  <a:schemeClr val="tx1"/>
                </a:solidFill>
                <a:effectLst/>
                <a:latin typeface="Optane"/>
              </a:rPr>
              <a:t>Reasons many-fold, often not comparable, but generally (selection):</a:t>
            </a:r>
            <a:br>
              <a:rPr lang="en-GB" sz="1400" kern="0" dirty="0" smtClean="0">
                <a:solidFill>
                  <a:schemeClr val="tx1"/>
                </a:solidFill>
                <a:effectLst/>
                <a:latin typeface="Optane"/>
              </a:rPr>
            </a:br>
            <a:r>
              <a:rPr lang="en-GB" sz="1400" kern="0" dirty="0" smtClean="0">
                <a:solidFill>
                  <a:schemeClr val="tx1"/>
                </a:solidFill>
                <a:effectLst/>
                <a:latin typeface="Optane"/>
              </a:rPr>
              <a:t>too low replacement rates;</a:t>
            </a:r>
          </a:p>
          <a:p>
            <a:pPr marL="457200" indent="-457200" algn="l" eaLnBrk="1" fontAlgn="auto" hangingPunct="1"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/>
            </a:pPr>
            <a:r>
              <a:rPr lang="en-GB" sz="1400" kern="0" dirty="0" smtClean="0">
                <a:solidFill>
                  <a:schemeClr val="tx1"/>
                </a:solidFill>
                <a:effectLst/>
                <a:latin typeface="Optane"/>
              </a:rPr>
              <a:t>	too high fiscal costs;</a:t>
            </a:r>
            <a:br>
              <a:rPr lang="en-GB" sz="1400" kern="0" dirty="0" smtClean="0">
                <a:solidFill>
                  <a:schemeClr val="tx1"/>
                </a:solidFill>
                <a:effectLst/>
                <a:latin typeface="Optane"/>
              </a:rPr>
            </a:br>
            <a:r>
              <a:rPr lang="en-GB" sz="1400" kern="0" dirty="0" smtClean="0">
                <a:solidFill>
                  <a:schemeClr val="tx1"/>
                </a:solidFill>
                <a:effectLst/>
                <a:latin typeface="Optane"/>
              </a:rPr>
              <a:t>financial markets did not deliver;</a:t>
            </a:r>
          </a:p>
          <a:p>
            <a:pPr marL="457200" indent="-457200" algn="l" eaLnBrk="1" fontAlgn="auto" hangingPunct="1"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/>
            </a:pPr>
            <a:r>
              <a:rPr lang="en-GB" sz="1400" kern="0" dirty="0" smtClean="0">
                <a:solidFill>
                  <a:schemeClr val="tx1"/>
                </a:solidFill>
                <a:effectLst/>
                <a:latin typeface="Optane"/>
              </a:rPr>
              <a:t>	public unease / political unrest.</a:t>
            </a:r>
          </a:p>
        </p:txBody>
      </p:sp>
    </p:spTree>
    <p:extLst>
      <p:ext uri="{BB962C8B-B14F-4D97-AF65-F5344CB8AC3E}">
        <p14:creationId xmlns:p14="http://schemas.microsoft.com/office/powerpoint/2010/main" val="140907237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0" y="44624"/>
            <a:ext cx="833737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GB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5 Questions and Answers.</a:t>
            </a:r>
            <a:endParaRPr lang="en-GB" dirty="0"/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648072" y="2780910"/>
            <a:ext cx="8337376" cy="158419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it-IT" sz="96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?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7211164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1268700"/>
            <a:ext cx="9200197" cy="60939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ha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iester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nsio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?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hy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a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troduc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?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iester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nsio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: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act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nd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igure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.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servation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n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levanc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f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ully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und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dividual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ccounts from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oin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f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viw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f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oor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.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cluding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mark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n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olitical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economy of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unding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– the Washington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sensu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Europe and China.</a:t>
            </a:r>
          </a:p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Overview of presentation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76019197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8065020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 smtClean="0"/>
              <a:t>1 What is the </a:t>
            </a:r>
            <a:r>
              <a:rPr lang="en-US" altLang="it-IT" dirty="0" err="1" smtClean="0"/>
              <a:t>Riester</a:t>
            </a:r>
            <a:r>
              <a:rPr lang="en-US" altLang="it-IT" dirty="0" smtClean="0"/>
              <a:t> Pension? Why was it introduced?</a:t>
            </a:r>
            <a:endParaRPr lang="it-IT" dirty="0"/>
          </a:p>
        </p:txBody>
      </p:sp>
      <p:sp>
        <p:nvSpPr>
          <p:cNvPr id="3" name="Rectangle 4"/>
          <p:cNvSpPr/>
          <p:nvPr/>
        </p:nvSpPr>
        <p:spPr>
          <a:xfrm>
            <a:off x="350425" y="1268700"/>
            <a:ext cx="9200197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iester Pension (RP)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s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 private individual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avings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plan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at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ims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o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uy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at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tirement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a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ife-long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nnuity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. (individual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ract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ith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private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ovider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)</a:t>
            </a:r>
          </a:p>
          <a:p>
            <a:pPr marL="800100" lvl="1" indent="-342900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de-DE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an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s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ubsidized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y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government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rough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irect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cash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ransfers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o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plan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ccount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nd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here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pplicable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rough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urther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ax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easures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. </a:t>
            </a:r>
          </a:p>
          <a:p>
            <a:pPr marL="800100" lvl="1" indent="-342900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ntitled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o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ubsidies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: All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rsons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ubject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o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2001 </a:t>
            </a:r>
            <a:r>
              <a:rPr lang="en-GB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uts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in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ublic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nsion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ystem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(DB, PAYG),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nd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ho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inue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o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embers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ose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chemes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.</a:t>
            </a:r>
          </a:p>
          <a:p>
            <a:pPr marL="800100" lvl="1" indent="-342900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ubsidies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im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t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mpensating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or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ose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uts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31300944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8065020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 smtClean="0"/>
              <a:t>1 What is the </a:t>
            </a:r>
            <a:r>
              <a:rPr lang="en-US" altLang="it-IT" dirty="0" err="1" smtClean="0"/>
              <a:t>Riester</a:t>
            </a:r>
            <a:r>
              <a:rPr lang="en-US" altLang="it-IT" dirty="0" smtClean="0"/>
              <a:t> Pension? Why was it introduced?</a:t>
            </a:r>
            <a:endParaRPr lang="it-IT" dirty="0"/>
          </a:p>
        </p:txBody>
      </p:sp>
      <p:sp>
        <p:nvSpPr>
          <p:cNvPr id="3" name="Rectangle 4"/>
          <p:cNvSpPr/>
          <p:nvPr/>
        </p:nvSpPr>
        <p:spPr>
          <a:xfrm>
            <a:off x="350425" y="1268700"/>
            <a:ext cx="9200197" cy="5170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our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ypes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racts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ubsidized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:</a:t>
            </a:r>
          </a:p>
          <a:p>
            <a:pPr marL="800100" lvl="1" indent="-342900">
              <a:lnSpc>
                <a:spcPct val="150000"/>
              </a:lnSpc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ivate </a:t>
            </a:r>
            <a:r>
              <a:rPr lang="de-DE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surance</a:t>
            </a:r>
            <a:r>
              <a:rPr lang="de-DE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lans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iming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t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uying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lassical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nnuity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(„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nsion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“);</a:t>
            </a:r>
          </a:p>
          <a:p>
            <a:pPr marL="800100" lvl="1" indent="-342900">
              <a:lnSpc>
                <a:spcPct val="150000"/>
              </a:lnSpc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lans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ith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gular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ributions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o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n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vestment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und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;</a:t>
            </a:r>
          </a:p>
          <a:p>
            <a:pPr marL="800100" lvl="1" indent="-342900">
              <a:lnSpc>
                <a:spcPct val="150000"/>
              </a:lnSpc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lans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gularly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ributing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o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 „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ank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avings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plan“;</a:t>
            </a:r>
          </a:p>
          <a:p>
            <a:pPr marL="800100" lvl="1" indent="-342900">
              <a:lnSpc>
                <a:spcPct val="150000"/>
              </a:lnSpc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avings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lans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imed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t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inancing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at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ld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ge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wner-occupied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operty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. </a:t>
            </a:r>
          </a:p>
          <a:p>
            <a:pPr lvl="1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lans must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„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ertified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“, i.e.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ife-long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nnuity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ayment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must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guaranteed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under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ll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our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ypes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. At </a:t>
            </a:r>
            <a:r>
              <a:rPr lang="de-DE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ginning</a:t>
            </a:r>
            <a:r>
              <a:rPr lang="de-DE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de-DE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ay-out</a:t>
            </a:r>
            <a:r>
              <a:rPr lang="de-DE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hase</a:t>
            </a:r>
            <a:r>
              <a:rPr lang="de-DE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pital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must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t least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qual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o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aid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-in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ributions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plus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ubsidies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(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sts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must </a:t>
            </a:r>
            <a:r>
              <a:rPr lang="de-DE" sz="2000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ot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educted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). </a:t>
            </a:r>
          </a:p>
          <a:p>
            <a:pPr marL="800100" lvl="1" indent="-342900">
              <a:lnSpc>
                <a:spcPct val="150000"/>
              </a:lnSpc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ubsidies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: 154 </a:t>
            </a:r>
            <a:r>
              <a:rPr lang="de-DE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€ 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.a.</a:t>
            </a:r>
          </a:p>
          <a:p>
            <a:pPr marL="800100" lvl="1" indent="-342900">
              <a:lnSpc>
                <a:spcPct val="150000"/>
              </a:lnSpc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cipients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hild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nefits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ceive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in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ddition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185 </a:t>
            </a:r>
            <a:r>
              <a:rPr lang="de-DE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€ 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r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hild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p.a.</a:t>
            </a:r>
          </a:p>
          <a:p>
            <a:pPr marL="800100" lvl="1" indent="-342900">
              <a:lnSpc>
                <a:spcPct val="150000"/>
              </a:lnSpc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or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hildren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orn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s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1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January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008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ubsidy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s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300 </a:t>
            </a:r>
            <a:r>
              <a:rPr lang="de-DE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€ 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.a.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939020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8065020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 smtClean="0"/>
              <a:t>1 What is the </a:t>
            </a:r>
            <a:r>
              <a:rPr lang="en-US" altLang="it-IT" dirty="0" err="1" smtClean="0"/>
              <a:t>Riester</a:t>
            </a:r>
            <a:r>
              <a:rPr lang="en-US" altLang="it-IT" dirty="0" smtClean="0"/>
              <a:t> Pension? Why was it introduced?</a:t>
            </a:r>
            <a:endParaRPr lang="it-IT" dirty="0"/>
          </a:p>
        </p:txBody>
      </p:sp>
      <p:sp>
        <p:nvSpPr>
          <p:cNvPr id="3" name="Rectangle 4"/>
          <p:cNvSpPr/>
          <p:nvPr/>
        </p:nvSpPr>
        <p:spPr>
          <a:xfrm>
            <a:off x="350425" y="1268700"/>
            <a:ext cx="9200197" cy="43396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P was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troduced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in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rder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o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chieve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in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Germany‘s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geing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ociety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a fairer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urden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haring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tween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ctive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nd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tired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generations</a:t>
            </a:r>
            <a:r>
              <a:rPr lang="de-DE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.</a:t>
            </a:r>
          </a:p>
          <a:p>
            <a:pPr marL="800100" lvl="1" indent="-342900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placement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ates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ublic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nsions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re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gradually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but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ignificantly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duced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;</a:t>
            </a:r>
          </a:p>
          <a:p>
            <a:pPr marL="800100" lvl="1" indent="-342900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ribution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ates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o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ublic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ystem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crease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ess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an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ithout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ose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uts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;</a:t>
            </a:r>
          </a:p>
          <a:p>
            <a:pPr marL="800100" lvl="1" indent="-342900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rder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o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mpensate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or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nticipated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placement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rate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osses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ctive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generation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must save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ore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dividually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;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s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upported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y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ax-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ayer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(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tate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),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mployers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re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ut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game</a:t>
            </a: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(RP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s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neutral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abour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sts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).</a:t>
            </a:r>
          </a:p>
          <a:p>
            <a:pPr marL="342900" indent="-342900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t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was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xpected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at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high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ates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turn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n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apital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arkets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ould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„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asily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“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mpensate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or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uts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in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ublic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ystem‘s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placement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ates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nd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at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refor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RP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ould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ttract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ufficiently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high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verage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ates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espite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ts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ing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voluntary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.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64945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 smtClean="0"/>
              <a:t>2 The </a:t>
            </a:r>
            <a:r>
              <a:rPr lang="en-US" altLang="it-IT" dirty="0" err="1" smtClean="0"/>
              <a:t>Riester</a:t>
            </a:r>
            <a:r>
              <a:rPr lang="en-US" altLang="it-IT" dirty="0" smtClean="0"/>
              <a:t> Pension - </a:t>
            </a:r>
            <a:r>
              <a:rPr lang="en-US" altLang="it-IT" dirty="0"/>
              <a:t>f</a:t>
            </a:r>
            <a:r>
              <a:rPr lang="en-US" altLang="it-IT" dirty="0" smtClean="0"/>
              <a:t>acts and figures.</a:t>
            </a:r>
            <a:endParaRPr lang="it-IT" dirty="0"/>
          </a:p>
        </p:txBody>
      </p:sp>
      <p:graphicFrame>
        <p:nvGraphicFramePr>
          <p:cNvPr id="3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2261515"/>
              </p:ext>
            </p:extLst>
          </p:nvPr>
        </p:nvGraphicFramePr>
        <p:xfrm>
          <a:off x="128463" y="1052744"/>
          <a:ext cx="9577064" cy="525657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6933"/>
                <a:gridCol w="1354115"/>
                <a:gridCol w="819839"/>
                <a:gridCol w="1169882"/>
                <a:gridCol w="736933"/>
                <a:gridCol w="801415"/>
                <a:gridCol w="1354115"/>
                <a:gridCol w="749216"/>
                <a:gridCol w="663241"/>
                <a:gridCol w="331620"/>
                <a:gridCol w="859755"/>
              </a:tblGrid>
              <a:tr h="282612"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300" u="none" strike="noStrike">
                          <a:effectLst/>
                        </a:rPr>
                        <a:t>Number of Riester contracts, - End of year, in 1000 -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</a:tr>
              <a:tr h="226089"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</a:tr>
              <a:tr h="226089">
                <a:tc>
                  <a:txBody>
                    <a:bodyPr/>
                    <a:lstStyle/>
                    <a:p>
                      <a:pPr algn="r" fontAlgn="b"/>
                      <a:r>
                        <a:rPr lang="de-DE" sz="900" u="none" strike="noStrike">
                          <a:effectLst/>
                        </a:rPr>
                        <a:t>Product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u="none" strike="noStrike">
                          <a:effectLst/>
                        </a:rPr>
                        <a:t>Private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u="none" strike="noStrike">
                          <a:effectLst/>
                        </a:rPr>
                        <a:t>Savings plans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u="none" strike="noStrike">
                          <a:effectLst/>
                        </a:rPr>
                        <a:t>Savings plans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u="none" strike="noStrike">
                          <a:effectLst/>
                        </a:rPr>
                        <a:t>Housing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u="none" strike="noStrike">
                          <a:effectLst/>
                        </a:rPr>
                        <a:t>Total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u="none" strike="noStrike">
                          <a:effectLst/>
                        </a:rPr>
                        <a:t>Number of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de-DE" sz="1000" u="none" strike="noStrike">
                          <a:effectLst/>
                        </a:rPr>
                        <a:t>Total Riester contracts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u="none" strike="noStrike">
                          <a:effectLst/>
                        </a:rPr>
                        <a:t>Influx of new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</a:tr>
              <a:tr h="226089">
                <a:tc>
                  <a:txBody>
                    <a:bodyPr/>
                    <a:lstStyle/>
                    <a:p>
                      <a:pPr algn="l" fontAlgn="b"/>
                      <a:r>
                        <a:rPr lang="de-DE" sz="1000" u="none" strike="noStrike">
                          <a:effectLst/>
                        </a:rPr>
                        <a:t> 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u="none" strike="noStrike">
                          <a:effectLst/>
                        </a:rPr>
                        <a:t>Insurance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u="none" strike="noStrike">
                          <a:effectLst/>
                        </a:rPr>
                        <a:t>(banks)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u="none" strike="noStrike">
                          <a:effectLst/>
                        </a:rPr>
                        <a:t>(investment funds)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u="none" strike="noStrike">
                          <a:effectLst/>
                        </a:rPr>
                        <a:t>at old-age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u="none" strike="noStrike">
                          <a:effectLst/>
                        </a:rPr>
                        <a:t>employed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de-DE" sz="1000" u="none" strike="noStrike">
                          <a:effectLst/>
                        </a:rPr>
                        <a:t>relative to employed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000" u="none" strike="noStrike">
                          <a:effectLst/>
                        </a:rPr>
                        <a:t>contracts (net)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</a:tr>
              <a:tr h="226089">
                <a:tc>
                  <a:txBody>
                    <a:bodyPr/>
                    <a:lstStyle/>
                    <a:p>
                      <a:pPr algn="ctr" fontAlgn="b"/>
                      <a:r>
                        <a:rPr lang="de-DE" sz="900" u="none" strike="noStrike">
                          <a:effectLst/>
                        </a:rPr>
                        <a:t>Year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u="none" strike="noStrike">
                          <a:effectLst/>
                        </a:rPr>
                        <a:t>1000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u="none" strike="noStrike">
                          <a:effectLst/>
                        </a:rPr>
                        <a:t>1000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u="none" strike="noStrike">
                          <a:effectLst/>
                        </a:rPr>
                        <a:t>1000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u="none" strike="noStrike">
                          <a:effectLst/>
                        </a:rPr>
                        <a:t>1000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u="none" strike="noStrike">
                          <a:effectLst/>
                        </a:rPr>
                        <a:t>1000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u="none" strike="noStrike">
                          <a:effectLst/>
                        </a:rPr>
                        <a:t>1000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de-DE" sz="1000" u="none" strike="noStrike">
                          <a:effectLst/>
                        </a:rPr>
                        <a:t>%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u="none" strike="noStrike">
                          <a:effectLst/>
                        </a:rPr>
                        <a:t>1000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</a:tr>
              <a:tr h="226089"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u="none" strike="noStrike">
                          <a:effectLst/>
                        </a:rPr>
                        <a:t>2001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1400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 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 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 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1400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155879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36816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3,8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000" u="none" strike="noStrike">
                          <a:effectLst/>
                        </a:rPr>
                        <a:t> 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1400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233818" marT="8660" marB="0" anchor="b"/>
                </a:tc>
              </a:tr>
              <a:tr h="226089"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u="none" strike="noStrike">
                          <a:effectLst/>
                        </a:rPr>
                        <a:t>2002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3081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150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233818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174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 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3405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155879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36536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9,3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000" u="none" strike="noStrike">
                          <a:effectLst/>
                        </a:rPr>
                        <a:t> 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2005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233818" marT="8660" marB="0" anchor="b"/>
                </a:tc>
              </a:tr>
              <a:tr h="226089"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u="none" strike="noStrike">
                          <a:effectLst/>
                        </a:rPr>
                        <a:t>2003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3534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197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233818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241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 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3972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155879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36172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11,0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000" u="none" strike="noStrike">
                          <a:effectLst/>
                        </a:rPr>
                        <a:t> 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567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233818" marT="8660" marB="0" anchor="b"/>
                </a:tc>
              </a:tr>
              <a:tr h="226089"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u="none" strike="noStrike">
                          <a:effectLst/>
                        </a:rPr>
                        <a:t>2004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3807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213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233818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316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 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4336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155879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39218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11,1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000" u="none" strike="noStrike">
                          <a:effectLst/>
                        </a:rPr>
                        <a:t> 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364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233818" marT="8660" marB="0" anchor="b"/>
                </a:tc>
              </a:tr>
              <a:tr h="226089"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u="none" strike="noStrike">
                          <a:effectLst/>
                        </a:rPr>
                        <a:t>2005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4859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260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233818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574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 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5693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155879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39220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14,5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000" u="none" strike="noStrike">
                          <a:effectLst/>
                        </a:rPr>
                        <a:t> 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1357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233818" marT="8660" marB="0" anchor="b"/>
                </a:tc>
              </a:tr>
              <a:tr h="226089"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u="none" strike="noStrike">
                          <a:effectLst/>
                        </a:rPr>
                        <a:t>2006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6562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351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233818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1231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 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8144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155879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39559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20,6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000" u="none" strike="noStrike">
                          <a:effectLst/>
                        </a:rPr>
                        <a:t> 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2451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233818" marT="8660" marB="0" anchor="b"/>
                </a:tc>
              </a:tr>
              <a:tr h="226089"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u="none" strike="noStrike">
                          <a:effectLst/>
                        </a:rPr>
                        <a:t>2007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8454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480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233818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1922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 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10856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155879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40259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27,0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000" u="none" strike="noStrike">
                          <a:effectLst/>
                        </a:rPr>
                        <a:t> 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2712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233818" marT="8660" marB="0" anchor="b"/>
                </a:tc>
              </a:tr>
              <a:tr h="226089"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u="none" strike="noStrike">
                          <a:effectLst/>
                        </a:rPr>
                        <a:t>2008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9285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554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233818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2386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22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233818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12247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155879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40805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30,0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000" u="none" strike="noStrike">
                          <a:effectLst/>
                        </a:rPr>
                        <a:t> 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1391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233818" marT="8660" marB="0" anchor="b"/>
                </a:tc>
              </a:tr>
              <a:tr h="226089"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u="none" strike="noStrike">
                          <a:effectLst/>
                        </a:rPr>
                        <a:t>2009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9906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634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233818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2629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197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233818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13366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155879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40845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32,7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000" u="none" strike="noStrike">
                          <a:effectLst/>
                        </a:rPr>
                        <a:t> 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1119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233818" marT="8660" marB="0" anchor="b"/>
                </a:tc>
              </a:tr>
              <a:tr h="226089"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u="none" strike="noStrike">
                          <a:effectLst/>
                        </a:rPr>
                        <a:t>2010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10485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703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233818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2815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460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233818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14463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155879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40983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35,3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000" u="none" strike="noStrike">
                          <a:effectLst/>
                        </a:rPr>
                        <a:t> 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1097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233818" marT="8660" marB="0" anchor="b"/>
                </a:tc>
              </a:tr>
              <a:tr h="226089"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u="none" strike="noStrike">
                          <a:effectLst/>
                        </a:rPr>
                        <a:t>2011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10988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750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233818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2953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724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233818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15415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155879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41534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37,1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000" u="none" strike="noStrike">
                          <a:effectLst/>
                        </a:rPr>
                        <a:t> 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952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233818" marT="8660" marB="0" anchor="b"/>
                </a:tc>
              </a:tr>
              <a:tr h="226089"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u="none" strike="noStrike">
                          <a:effectLst/>
                        </a:rPr>
                        <a:t>2012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11059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781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233818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2989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953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233818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15782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155879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42007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37,6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 rowSpan="3">
                  <a:txBody>
                    <a:bodyPr/>
                    <a:lstStyle/>
                    <a:p>
                      <a:pPr algn="ctr" fontAlgn="b"/>
                      <a:r>
                        <a:rPr lang="de-DE" sz="800" u="none" strike="noStrike">
                          <a:effectLst/>
                        </a:rPr>
                        <a:t>Excluding</a:t>
                      </a:r>
                      <a:br>
                        <a:rPr lang="de-DE" sz="800" u="none" strike="noStrike">
                          <a:effectLst/>
                        </a:rPr>
                      </a:br>
                      <a:r>
                        <a:rPr lang="de-DE" sz="800" u="none" strike="noStrike">
                          <a:effectLst/>
                        </a:rPr>
                        <a:t>dormant</a:t>
                      </a:r>
                      <a:br>
                        <a:rPr lang="de-DE" sz="800" u="none" strike="noStrike">
                          <a:effectLst/>
                        </a:rPr>
                      </a:br>
                      <a:r>
                        <a:rPr lang="de-DE" sz="800" u="none" strike="noStrike">
                          <a:effectLst/>
                        </a:rPr>
                        <a:t>contracts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367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233818" marT="8660" marB="0" anchor="b"/>
                </a:tc>
              </a:tr>
              <a:tr h="226089"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u="none" strike="noStrike">
                          <a:effectLst/>
                        </a:rPr>
                        <a:t>2013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11013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805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233818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3027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1154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233818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15999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155879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42269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37,9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217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233818" marT="8660" marB="0" anchor="b"/>
                </a:tc>
              </a:tr>
              <a:tr h="226089"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u="none" strike="noStrike">
                          <a:effectLst/>
                        </a:rPr>
                        <a:t>2014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11033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814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233818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3071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1377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233818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16295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155879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42640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38,2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296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233818" marT="8660" marB="0" anchor="b"/>
                </a:tc>
              </a:tr>
              <a:tr h="226089"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u="none" strike="noStrike">
                          <a:effectLst/>
                        </a:rPr>
                        <a:t>2015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10989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804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233818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3125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1564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233818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16482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155879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42964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38,4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u="none" strike="noStrike">
                          <a:effectLst/>
                        </a:rPr>
                        <a:t>%</a:t>
                      </a:r>
                      <a:endParaRPr lang="de-DE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187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233818" marT="8660" marB="0" anchor="b"/>
                </a:tc>
              </a:tr>
              <a:tr h="226089"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u="none" strike="noStrike">
                          <a:effectLst/>
                        </a:rPr>
                        <a:t>2016 / I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10958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800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233818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3131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1592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233818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16481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155879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43200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389697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38,2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u="none" strike="noStrike">
                          <a:effectLst/>
                        </a:rPr>
                        <a:t>31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-1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233818" marT="8660" marB="0" anchor="b"/>
                </a:tc>
              </a:tr>
              <a:tr h="226089"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</a:tr>
              <a:tr h="226089">
                <a:tc gridSpan="7"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Around 20% of total number of contracts is estimated to be dormant (equivalent to 3,3 million; in 2016)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60" marR="8660" marT="866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2217368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 smtClean="0"/>
              <a:t>2 The </a:t>
            </a:r>
            <a:r>
              <a:rPr lang="en-US" altLang="it-IT" dirty="0" err="1" smtClean="0"/>
              <a:t>Riester</a:t>
            </a:r>
            <a:r>
              <a:rPr lang="en-US" altLang="it-IT" dirty="0" smtClean="0"/>
              <a:t> Pension - </a:t>
            </a:r>
            <a:r>
              <a:rPr lang="en-US" altLang="it-IT" dirty="0"/>
              <a:t>f</a:t>
            </a:r>
            <a:r>
              <a:rPr lang="en-US" altLang="it-IT" dirty="0" smtClean="0"/>
              <a:t>acts and figures.</a:t>
            </a:r>
            <a:endParaRPr lang="it-IT" dirty="0"/>
          </a:p>
        </p:txBody>
      </p:sp>
      <p:graphicFrame>
        <p:nvGraphicFramePr>
          <p:cNvPr id="5" name="Diagramm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6497220"/>
              </p:ext>
            </p:extLst>
          </p:nvPr>
        </p:nvGraphicFramePr>
        <p:xfrm>
          <a:off x="305637" y="980728"/>
          <a:ext cx="9294725" cy="5400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7015805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 smtClean="0"/>
              <a:t>2 The </a:t>
            </a:r>
            <a:r>
              <a:rPr lang="en-US" altLang="it-IT" dirty="0" err="1" smtClean="0"/>
              <a:t>Riester</a:t>
            </a:r>
            <a:r>
              <a:rPr lang="en-US" altLang="it-IT" dirty="0" smtClean="0"/>
              <a:t> Pension - </a:t>
            </a:r>
            <a:r>
              <a:rPr lang="en-US" altLang="it-IT" dirty="0"/>
              <a:t>f</a:t>
            </a:r>
            <a:r>
              <a:rPr lang="en-US" altLang="it-IT" dirty="0" smtClean="0"/>
              <a:t>acts and figures.</a:t>
            </a:r>
            <a:endParaRPr lang="it-IT" dirty="0"/>
          </a:p>
        </p:txBody>
      </p:sp>
      <p:graphicFrame>
        <p:nvGraphicFramePr>
          <p:cNvPr id="6" name="Diagramm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0529402"/>
              </p:ext>
            </p:extLst>
          </p:nvPr>
        </p:nvGraphicFramePr>
        <p:xfrm>
          <a:off x="128464" y="980728"/>
          <a:ext cx="9649071" cy="53285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89152813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 smtClean="0"/>
              <a:t>2 The </a:t>
            </a:r>
            <a:r>
              <a:rPr lang="en-US" altLang="it-IT" dirty="0" err="1" smtClean="0"/>
              <a:t>Riester</a:t>
            </a:r>
            <a:r>
              <a:rPr lang="en-US" altLang="it-IT" dirty="0" smtClean="0"/>
              <a:t> Pension - </a:t>
            </a:r>
            <a:r>
              <a:rPr lang="en-US" altLang="it-IT" dirty="0"/>
              <a:t>f</a:t>
            </a:r>
            <a:r>
              <a:rPr lang="en-US" altLang="it-IT" dirty="0" smtClean="0"/>
              <a:t>acts and figures.</a:t>
            </a:r>
            <a:endParaRPr lang="it-IT" dirty="0"/>
          </a:p>
        </p:txBody>
      </p:sp>
      <p:graphicFrame>
        <p:nvGraphicFramePr>
          <p:cNvPr id="6" name="Diagramm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7390405"/>
              </p:ext>
            </p:extLst>
          </p:nvPr>
        </p:nvGraphicFramePr>
        <p:xfrm>
          <a:off x="305637" y="1124744"/>
          <a:ext cx="9294725" cy="55446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09799075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j1_z0EmEi1ZermGN_6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HNUFTl0Uu77cVj3gD6Vw"/>
</p:tagLst>
</file>

<file path=ppt/theme/theme1.xml><?xml version="1.0" encoding="utf-8"?>
<a:theme xmlns:a="http://schemas.openxmlformats.org/drawingml/2006/main" name="SPRP_Correct Power Point Template v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PRP_Correct Power Point Template v1</Template>
  <TotalTime>2</TotalTime>
  <Words>1058</Words>
  <Application>Microsoft Macintosh PowerPoint</Application>
  <PresentationFormat>A4 Paper (210x297 mm)</PresentationFormat>
  <Paragraphs>275</Paragraphs>
  <Slides>13</Slides>
  <Notes>12</Notes>
  <HiddenSlides>0</HiddenSlides>
  <MMClips>0</MMClips>
  <ScaleCrop>false</ScaleCrop>
  <HeadingPairs>
    <vt:vector size="8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  <vt:variant>
        <vt:lpstr>Custom Shows</vt:lpstr>
      </vt:variant>
      <vt:variant>
        <vt:i4>1</vt:i4>
      </vt:variant>
    </vt:vector>
  </HeadingPairs>
  <TitlesOfParts>
    <vt:vector size="16" baseType="lpstr">
      <vt:lpstr>SPRP_Correct Power Point Template v1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ustom Show 1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PRP-BJ User</dc:creator>
  <cp:lastModifiedBy>JVG</cp:lastModifiedBy>
  <cp:revision>27</cp:revision>
  <cp:lastPrinted>2015-01-26T19:32:44Z</cp:lastPrinted>
  <dcterms:created xsi:type="dcterms:W3CDTF">2015-09-07T02:11:56Z</dcterms:created>
  <dcterms:modified xsi:type="dcterms:W3CDTF">2016-08-31T15:39:40Z</dcterms:modified>
</cp:coreProperties>
</file>